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30690B-5CFF-4174-B3D5-72384CFB2CBD}" v="54" dt="2023-02-27T23:48:14.6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01" d="100"/>
          <a:sy n="101" d="100"/>
        </p:scale>
        <p:origin x="144" y="828"/>
      </p:cViewPr>
      <p:guideLst>
        <p:guide orient="horz" pos="648"/>
        <p:guide pos="3576"/>
        <p:guide pos="7584"/>
        <p:guide orient="horz" pos="4032"/>
        <p:guide pos="96"/>
        <p:guide pos="2856"/>
        <p:guide pos="576"/>
        <p:guide orient="horz" pos="3840"/>
        <p:guide orient="horz" pos="816"/>
        <p:guide orient="horz" pos="1032"/>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B330690B-5CFF-4174-B3D5-72384CFB2CBD}"/>
    <pc:docChg chg="addSld delSld modSld">
      <pc:chgData name="Roberto Gallardo" userId="49a044883f185952" providerId="LiveId" clId="{B330690B-5CFF-4174-B3D5-72384CFB2CBD}" dt="2023-02-27T23:48:31.695" v="211" actId="1076"/>
      <pc:docMkLst>
        <pc:docMk/>
      </pc:docMkLst>
      <pc:sldChg chg="del">
        <pc:chgData name="Roberto Gallardo" userId="49a044883f185952" providerId="LiveId" clId="{B330690B-5CFF-4174-B3D5-72384CFB2CBD}" dt="2023-02-25T14:36:14.083" v="4" actId="47"/>
        <pc:sldMkLst>
          <pc:docMk/>
          <pc:sldMk cId="1175010214" sldId="261"/>
        </pc:sldMkLst>
      </pc:sldChg>
      <pc:sldChg chg="addSp modSp mod">
        <pc:chgData name="Roberto Gallardo" userId="49a044883f185952" providerId="LiveId" clId="{B330690B-5CFF-4174-B3D5-72384CFB2CBD}" dt="2023-02-27T23:41:52.022" v="10" actId="1076"/>
        <pc:sldMkLst>
          <pc:docMk/>
          <pc:sldMk cId="1418533539" sldId="271"/>
        </pc:sldMkLst>
        <pc:picChg chg="add mod">
          <ac:chgData name="Roberto Gallardo" userId="49a044883f185952" providerId="LiveId" clId="{B330690B-5CFF-4174-B3D5-72384CFB2CBD}" dt="2023-02-27T23:41:52.022" v="10" actId="1076"/>
          <ac:picMkLst>
            <pc:docMk/>
            <pc:sldMk cId="1418533539" sldId="271"/>
            <ac:picMk id="6" creationId="{69AB6232-D2B8-EEE3-A949-A0B3488E3FA0}"/>
          </ac:picMkLst>
        </pc:picChg>
      </pc:sldChg>
      <pc:sldChg chg="addSp modSp mod">
        <pc:chgData name="Roberto Gallardo" userId="49a044883f185952" providerId="LiveId" clId="{B330690B-5CFF-4174-B3D5-72384CFB2CBD}" dt="2023-02-27T23:43:59.998" v="66" actId="1076"/>
        <pc:sldMkLst>
          <pc:docMk/>
          <pc:sldMk cId="2124848710" sldId="281"/>
        </pc:sldMkLst>
        <pc:picChg chg="add mod">
          <ac:chgData name="Roberto Gallardo" userId="49a044883f185952" providerId="LiveId" clId="{B330690B-5CFF-4174-B3D5-72384CFB2CBD}" dt="2023-02-27T23:43:59.998" v="66" actId="1076"/>
          <ac:picMkLst>
            <pc:docMk/>
            <pc:sldMk cId="2124848710" sldId="281"/>
            <ac:picMk id="6" creationId="{34C5D693-CF23-D44C-9068-07F9022FFF15}"/>
          </ac:picMkLst>
        </pc:picChg>
      </pc:sldChg>
      <pc:sldChg chg="addSp modSp mod">
        <pc:chgData name="Roberto Gallardo" userId="49a044883f185952" providerId="LiveId" clId="{B330690B-5CFF-4174-B3D5-72384CFB2CBD}" dt="2023-02-27T23:44:28.855" v="78" actId="1076"/>
        <pc:sldMkLst>
          <pc:docMk/>
          <pc:sldMk cId="2028175529" sldId="282"/>
        </pc:sldMkLst>
        <pc:picChg chg="add mod">
          <ac:chgData name="Roberto Gallardo" userId="49a044883f185952" providerId="LiveId" clId="{B330690B-5CFF-4174-B3D5-72384CFB2CBD}" dt="2023-02-27T23:44:28.855" v="78" actId="1076"/>
          <ac:picMkLst>
            <pc:docMk/>
            <pc:sldMk cId="2028175529" sldId="282"/>
            <ac:picMk id="7" creationId="{7DA51CFF-0F5D-AE78-E9C9-E069C657AC30}"/>
          </ac:picMkLst>
        </pc:picChg>
      </pc:sldChg>
      <pc:sldChg chg="addSp modSp mod">
        <pc:chgData name="Roberto Gallardo" userId="49a044883f185952" providerId="LiveId" clId="{B330690B-5CFF-4174-B3D5-72384CFB2CBD}" dt="2023-02-27T23:44:48.903" v="89" actId="1076"/>
        <pc:sldMkLst>
          <pc:docMk/>
          <pc:sldMk cId="1326517747" sldId="283"/>
        </pc:sldMkLst>
        <pc:picChg chg="add mod">
          <ac:chgData name="Roberto Gallardo" userId="49a044883f185952" providerId="LiveId" clId="{B330690B-5CFF-4174-B3D5-72384CFB2CBD}" dt="2023-02-27T23:44:48.903" v="89" actId="1076"/>
          <ac:picMkLst>
            <pc:docMk/>
            <pc:sldMk cId="1326517747" sldId="283"/>
            <ac:picMk id="7" creationId="{EB549E68-992B-33C0-54A0-0181F0BEC51D}"/>
          </ac:picMkLst>
        </pc:picChg>
      </pc:sldChg>
      <pc:sldChg chg="addSp modSp mod">
        <pc:chgData name="Roberto Gallardo" userId="49a044883f185952" providerId="LiveId" clId="{B330690B-5CFF-4174-B3D5-72384CFB2CBD}" dt="2023-02-27T23:45:12.216" v="103" actId="1076"/>
        <pc:sldMkLst>
          <pc:docMk/>
          <pc:sldMk cId="783739251" sldId="284"/>
        </pc:sldMkLst>
        <pc:picChg chg="add mod">
          <ac:chgData name="Roberto Gallardo" userId="49a044883f185952" providerId="LiveId" clId="{B330690B-5CFF-4174-B3D5-72384CFB2CBD}" dt="2023-02-27T23:45:12.216" v="103" actId="1076"/>
          <ac:picMkLst>
            <pc:docMk/>
            <pc:sldMk cId="783739251" sldId="284"/>
            <ac:picMk id="7" creationId="{4A478A30-28BD-BBC6-2644-31A51FEC0774}"/>
          </ac:picMkLst>
        </pc:picChg>
      </pc:sldChg>
      <pc:sldChg chg="addSp modSp mod">
        <pc:chgData name="Roberto Gallardo" userId="49a044883f185952" providerId="LiveId" clId="{B330690B-5CFF-4174-B3D5-72384CFB2CBD}" dt="2023-02-27T23:45:27.307" v="112" actId="1076"/>
        <pc:sldMkLst>
          <pc:docMk/>
          <pc:sldMk cId="1676122233" sldId="285"/>
        </pc:sldMkLst>
        <pc:picChg chg="add mod">
          <ac:chgData name="Roberto Gallardo" userId="49a044883f185952" providerId="LiveId" clId="{B330690B-5CFF-4174-B3D5-72384CFB2CBD}" dt="2023-02-27T23:45:27.307" v="112" actId="1076"/>
          <ac:picMkLst>
            <pc:docMk/>
            <pc:sldMk cId="1676122233" sldId="285"/>
            <ac:picMk id="7" creationId="{D73145E4-2C8E-EB3B-C4AC-CFD030AA2D79}"/>
          </ac:picMkLst>
        </pc:picChg>
      </pc:sldChg>
      <pc:sldChg chg="addSp modSp mod">
        <pc:chgData name="Roberto Gallardo" userId="49a044883f185952" providerId="LiveId" clId="{B330690B-5CFF-4174-B3D5-72384CFB2CBD}" dt="2023-02-27T23:45:44.474" v="122" actId="1076"/>
        <pc:sldMkLst>
          <pc:docMk/>
          <pc:sldMk cId="3100398757" sldId="286"/>
        </pc:sldMkLst>
        <pc:picChg chg="add mod">
          <ac:chgData name="Roberto Gallardo" userId="49a044883f185952" providerId="LiveId" clId="{B330690B-5CFF-4174-B3D5-72384CFB2CBD}" dt="2023-02-27T23:45:44.474" v="122" actId="1076"/>
          <ac:picMkLst>
            <pc:docMk/>
            <pc:sldMk cId="3100398757" sldId="286"/>
            <ac:picMk id="7" creationId="{A0CA2115-494C-BDC8-22DD-FB8C10C5716B}"/>
          </ac:picMkLst>
        </pc:picChg>
      </pc:sldChg>
      <pc:sldChg chg="addSp modSp mod">
        <pc:chgData name="Roberto Gallardo" userId="49a044883f185952" providerId="LiveId" clId="{B330690B-5CFF-4174-B3D5-72384CFB2CBD}" dt="2023-02-27T23:46:14.525" v="141" actId="1038"/>
        <pc:sldMkLst>
          <pc:docMk/>
          <pc:sldMk cId="1546475425" sldId="287"/>
        </pc:sldMkLst>
        <pc:picChg chg="add mod">
          <ac:chgData name="Roberto Gallardo" userId="49a044883f185952" providerId="LiveId" clId="{B330690B-5CFF-4174-B3D5-72384CFB2CBD}" dt="2023-02-27T23:46:14.525" v="141" actId="1038"/>
          <ac:picMkLst>
            <pc:docMk/>
            <pc:sldMk cId="1546475425" sldId="287"/>
            <ac:picMk id="7" creationId="{9910D3C3-EBD2-F16F-891B-13B6226D58DB}"/>
          </ac:picMkLst>
        </pc:picChg>
      </pc:sldChg>
      <pc:sldChg chg="addSp modSp mod">
        <pc:chgData name="Roberto Gallardo" userId="49a044883f185952" providerId="LiveId" clId="{B330690B-5CFF-4174-B3D5-72384CFB2CBD}" dt="2023-02-27T23:47:06.309" v="171" actId="1076"/>
        <pc:sldMkLst>
          <pc:docMk/>
          <pc:sldMk cId="1380517306" sldId="288"/>
        </pc:sldMkLst>
        <pc:picChg chg="add mod">
          <ac:chgData name="Roberto Gallardo" userId="49a044883f185952" providerId="LiveId" clId="{B330690B-5CFF-4174-B3D5-72384CFB2CBD}" dt="2023-02-27T23:47:06.309" v="171" actId="1076"/>
          <ac:picMkLst>
            <pc:docMk/>
            <pc:sldMk cId="1380517306" sldId="288"/>
            <ac:picMk id="7" creationId="{B05D59CF-B766-5EC5-68FA-14F3C6671F01}"/>
          </ac:picMkLst>
        </pc:picChg>
      </pc:sldChg>
      <pc:sldChg chg="addSp modSp mod">
        <pc:chgData name="Roberto Gallardo" userId="49a044883f185952" providerId="LiveId" clId="{B330690B-5CFF-4174-B3D5-72384CFB2CBD}" dt="2023-02-27T23:47:26.462" v="182" actId="1076"/>
        <pc:sldMkLst>
          <pc:docMk/>
          <pc:sldMk cId="1388671151" sldId="289"/>
        </pc:sldMkLst>
        <pc:picChg chg="add mod">
          <ac:chgData name="Roberto Gallardo" userId="49a044883f185952" providerId="LiveId" clId="{B330690B-5CFF-4174-B3D5-72384CFB2CBD}" dt="2023-02-27T23:47:26.462" v="182" actId="1076"/>
          <ac:picMkLst>
            <pc:docMk/>
            <pc:sldMk cId="1388671151" sldId="289"/>
            <ac:picMk id="7" creationId="{909AFDF7-FA06-BEBA-F4A0-A948FAF136AA}"/>
          </ac:picMkLst>
        </pc:picChg>
      </pc:sldChg>
      <pc:sldChg chg="addSp modSp mod">
        <pc:chgData name="Roberto Gallardo" userId="49a044883f185952" providerId="LiveId" clId="{B330690B-5CFF-4174-B3D5-72384CFB2CBD}" dt="2023-02-27T23:48:06.023" v="201" actId="1076"/>
        <pc:sldMkLst>
          <pc:docMk/>
          <pc:sldMk cId="2355376039" sldId="290"/>
        </pc:sldMkLst>
        <pc:picChg chg="add mod">
          <ac:chgData name="Roberto Gallardo" userId="49a044883f185952" providerId="LiveId" clId="{B330690B-5CFF-4174-B3D5-72384CFB2CBD}" dt="2023-02-27T23:48:06.023" v="201" actId="1076"/>
          <ac:picMkLst>
            <pc:docMk/>
            <pc:sldMk cId="2355376039" sldId="290"/>
            <ac:picMk id="8" creationId="{4DB1E7DC-E62E-36BC-9C8C-FA1988F898F5}"/>
          </ac:picMkLst>
        </pc:picChg>
      </pc:sldChg>
      <pc:sldChg chg="addSp modSp mod">
        <pc:chgData name="Roberto Gallardo" userId="49a044883f185952" providerId="LiveId" clId="{B330690B-5CFF-4174-B3D5-72384CFB2CBD}" dt="2023-02-27T23:48:31.695" v="211" actId="1076"/>
        <pc:sldMkLst>
          <pc:docMk/>
          <pc:sldMk cId="3757257295" sldId="291"/>
        </pc:sldMkLst>
        <pc:picChg chg="add mod">
          <ac:chgData name="Roberto Gallardo" userId="49a044883f185952" providerId="LiveId" clId="{B330690B-5CFF-4174-B3D5-72384CFB2CBD}" dt="2023-02-27T23:48:31.695" v="211" actId="1076"/>
          <ac:picMkLst>
            <pc:docMk/>
            <pc:sldMk cId="3757257295" sldId="291"/>
            <ac:picMk id="8" creationId="{42DD5358-0F51-C92A-9A5E-82ECA9D25290}"/>
          </ac:picMkLst>
        </pc:picChg>
      </pc:sldChg>
      <pc:sldChg chg="addSp modSp mod">
        <pc:chgData name="Roberto Gallardo" userId="49a044883f185952" providerId="LiveId" clId="{B330690B-5CFF-4174-B3D5-72384CFB2CBD}" dt="2023-02-27T23:46:37.155" v="154" actId="1076"/>
        <pc:sldMkLst>
          <pc:docMk/>
          <pc:sldMk cId="1259856727" sldId="292"/>
        </pc:sldMkLst>
        <pc:picChg chg="add mod">
          <ac:chgData name="Roberto Gallardo" userId="49a044883f185952" providerId="LiveId" clId="{B330690B-5CFF-4174-B3D5-72384CFB2CBD}" dt="2023-02-27T23:46:37.155" v="154" actId="1076"/>
          <ac:picMkLst>
            <pc:docMk/>
            <pc:sldMk cId="1259856727" sldId="292"/>
            <ac:picMk id="7" creationId="{219745DA-CCF9-DB3F-B64C-AB278D172F4B}"/>
          </ac:picMkLst>
        </pc:picChg>
      </pc:sldChg>
      <pc:sldChg chg="addSp modSp mod">
        <pc:chgData name="Roberto Gallardo" userId="49a044883f185952" providerId="LiveId" clId="{B330690B-5CFF-4174-B3D5-72384CFB2CBD}" dt="2023-02-27T23:43:38.723" v="55" actId="1076"/>
        <pc:sldMkLst>
          <pc:docMk/>
          <pc:sldMk cId="3324519687" sldId="293"/>
        </pc:sldMkLst>
        <pc:picChg chg="add mod">
          <ac:chgData name="Roberto Gallardo" userId="49a044883f185952" providerId="LiveId" clId="{B330690B-5CFF-4174-B3D5-72384CFB2CBD}" dt="2023-02-27T23:43:38.723" v="55" actId="1076"/>
          <ac:picMkLst>
            <pc:docMk/>
            <pc:sldMk cId="3324519687" sldId="293"/>
            <ac:picMk id="7" creationId="{4BEA1F2D-24C8-FEDB-A9E2-01C91B27EC30}"/>
          </ac:picMkLst>
        </pc:picChg>
      </pc:sldChg>
      <pc:sldChg chg="addSp modSp mod">
        <pc:chgData name="Roberto Gallardo" userId="49a044883f185952" providerId="LiveId" clId="{B330690B-5CFF-4174-B3D5-72384CFB2CBD}" dt="2023-02-27T23:42:53.860" v="32" actId="1076"/>
        <pc:sldMkLst>
          <pc:docMk/>
          <pc:sldMk cId="3256182630" sldId="295"/>
        </pc:sldMkLst>
        <pc:picChg chg="add mod">
          <ac:chgData name="Roberto Gallardo" userId="49a044883f185952" providerId="LiveId" clId="{B330690B-5CFF-4174-B3D5-72384CFB2CBD}" dt="2023-02-27T23:42:53.860" v="32" actId="1076"/>
          <ac:picMkLst>
            <pc:docMk/>
            <pc:sldMk cId="3256182630" sldId="295"/>
            <ac:picMk id="7" creationId="{572CB84C-54CC-FC9A-10F4-86085AB85990}"/>
          </ac:picMkLst>
        </pc:picChg>
      </pc:sldChg>
      <pc:sldChg chg="addSp modSp mod">
        <pc:chgData name="Roberto Gallardo" userId="49a044883f185952" providerId="LiveId" clId="{B330690B-5CFF-4174-B3D5-72384CFB2CBD}" dt="2023-02-27T23:43:20.875" v="45" actId="1076"/>
        <pc:sldMkLst>
          <pc:docMk/>
          <pc:sldMk cId="4057156843" sldId="296"/>
        </pc:sldMkLst>
        <pc:picChg chg="add mod">
          <ac:chgData name="Roberto Gallardo" userId="49a044883f185952" providerId="LiveId" clId="{B330690B-5CFF-4174-B3D5-72384CFB2CBD}" dt="2023-02-27T23:43:20.875" v="45" actId="1076"/>
          <ac:picMkLst>
            <pc:docMk/>
            <pc:sldMk cId="4057156843" sldId="296"/>
            <ac:picMk id="7" creationId="{6A00CE39-397B-010D-FB97-84DE06C33C23}"/>
          </ac:picMkLst>
        </pc:picChg>
      </pc:sldChg>
      <pc:sldChg chg="addSp modSp mod">
        <pc:chgData name="Roberto Gallardo" userId="49a044883f185952" providerId="LiveId" clId="{B330690B-5CFF-4174-B3D5-72384CFB2CBD}" dt="2023-02-27T23:42:24.866" v="23" actId="1076"/>
        <pc:sldMkLst>
          <pc:docMk/>
          <pc:sldMk cId="2080110827" sldId="297"/>
        </pc:sldMkLst>
        <pc:picChg chg="add mod">
          <ac:chgData name="Roberto Gallardo" userId="49a044883f185952" providerId="LiveId" clId="{B330690B-5CFF-4174-B3D5-72384CFB2CBD}" dt="2023-02-27T23:42:24.866" v="23" actId="1076"/>
          <ac:picMkLst>
            <pc:docMk/>
            <pc:sldMk cId="2080110827" sldId="297"/>
            <ac:picMk id="6" creationId="{97153F83-B7DC-D4D1-14E8-A817E766CBFC}"/>
          </ac:picMkLst>
        </pc:picChg>
      </pc:sldChg>
      <pc:sldChg chg="addSp modSp mod">
        <pc:chgData name="Roberto Gallardo" userId="49a044883f185952" providerId="LiveId" clId="{B330690B-5CFF-4174-B3D5-72384CFB2CBD}" dt="2023-02-27T23:42:07.340" v="16" actId="1076"/>
        <pc:sldMkLst>
          <pc:docMk/>
          <pc:sldMk cId="1532666867" sldId="298"/>
        </pc:sldMkLst>
        <pc:picChg chg="add mod">
          <ac:chgData name="Roberto Gallardo" userId="49a044883f185952" providerId="LiveId" clId="{B330690B-5CFF-4174-B3D5-72384CFB2CBD}" dt="2023-02-27T23:42:07.340" v="16" actId="1076"/>
          <ac:picMkLst>
            <pc:docMk/>
            <pc:sldMk cId="1532666867" sldId="298"/>
            <ac:picMk id="6" creationId="{E8E4F69C-B0F9-6149-EF95-9D45417658FD}"/>
          </ac:picMkLst>
        </pc:picChg>
      </pc:sldChg>
      <pc:sldChg chg="addSp modSp mod">
        <pc:chgData name="Roberto Gallardo" userId="49a044883f185952" providerId="LiveId" clId="{B330690B-5CFF-4174-B3D5-72384CFB2CBD}" dt="2023-02-27T23:47:44.191" v="192" actId="1076"/>
        <pc:sldMkLst>
          <pc:docMk/>
          <pc:sldMk cId="1951376777" sldId="299"/>
        </pc:sldMkLst>
        <pc:picChg chg="add mod">
          <ac:chgData name="Roberto Gallardo" userId="49a044883f185952" providerId="LiveId" clId="{B330690B-5CFF-4174-B3D5-72384CFB2CBD}" dt="2023-02-27T23:47:44.191" v="192" actId="1076"/>
          <ac:picMkLst>
            <pc:docMk/>
            <pc:sldMk cId="1951376777" sldId="299"/>
            <ac:picMk id="7" creationId="{18916661-4182-7AC9-6957-00B8C751AE5B}"/>
          </ac:picMkLst>
        </pc:picChg>
      </pc:sldChg>
      <pc:sldChg chg="modSp mod">
        <pc:chgData name="Roberto Gallardo" userId="49a044883f185952" providerId="LiveId" clId="{B330690B-5CFF-4174-B3D5-72384CFB2CBD}" dt="2023-02-25T13:18:33.604" v="2" actId="20577"/>
        <pc:sldMkLst>
          <pc:docMk/>
          <pc:sldMk cId="1515423683" sldId="302"/>
        </pc:sldMkLst>
        <pc:spChg chg="mod">
          <ac:chgData name="Roberto Gallardo" userId="49a044883f185952" providerId="LiveId" clId="{B330690B-5CFF-4174-B3D5-72384CFB2CBD}" dt="2023-02-25T13:18:33.604" v="2" actId="20577"/>
          <ac:spMkLst>
            <pc:docMk/>
            <pc:sldMk cId="1515423683" sldId="302"/>
            <ac:spMk id="5" creationId="{6AE302AC-8931-4144-BE52-DD1A8BA82462}"/>
          </ac:spMkLst>
        </pc:spChg>
        <pc:spChg chg="mod">
          <ac:chgData name="Roberto Gallardo" userId="49a044883f185952" providerId="LiveId" clId="{B330690B-5CFF-4174-B3D5-72384CFB2CBD}" dt="2023-02-25T13:18:30.336" v="1" actId="20577"/>
          <ac:spMkLst>
            <pc:docMk/>
            <pc:sldMk cId="1515423683" sldId="302"/>
            <ac:spMk id="9" creationId="{E362A98F-7DCD-C67C-23CE-1BE182A133B4}"/>
          </ac:spMkLst>
        </pc:spChg>
      </pc:sldChg>
      <pc:sldChg chg="del">
        <pc:chgData name="Roberto Gallardo" userId="49a044883f185952" providerId="LiveId" clId="{B330690B-5CFF-4174-B3D5-72384CFB2CBD}" dt="2023-02-25T14:36:14.083" v="4" actId="47"/>
        <pc:sldMkLst>
          <pc:docMk/>
          <pc:sldMk cId="2841628872" sldId="303"/>
        </pc:sldMkLst>
      </pc:sldChg>
      <pc:sldChg chg="del">
        <pc:chgData name="Roberto Gallardo" userId="49a044883f185952" providerId="LiveId" clId="{B330690B-5CFF-4174-B3D5-72384CFB2CBD}" dt="2023-02-25T14:36:14.083" v="4" actId="47"/>
        <pc:sldMkLst>
          <pc:docMk/>
          <pc:sldMk cId="3084076302" sldId="304"/>
        </pc:sldMkLst>
      </pc:sldChg>
      <pc:sldChg chg="del">
        <pc:chgData name="Roberto Gallardo" userId="49a044883f185952" providerId="LiveId" clId="{B330690B-5CFF-4174-B3D5-72384CFB2CBD}" dt="2023-02-25T14:36:14.083" v="4" actId="47"/>
        <pc:sldMkLst>
          <pc:docMk/>
          <pc:sldMk cId="473712435" sldId="305"/>
        </pc:sldMkLst>
      </pc:sldChg>
      <pc:sldChg chg="add">
        <pc:chgData name="Roberto Gallardo" userId="49a044883f185952" providerId="LiveId" clId="{B330690B-5CFF-4174-B3D5-72384CFB2CBD}" dt="2023-02-25T14:36:08.852" v="3"/>
        <pc:sldMkLst>
          <pc:docMk/>
          <pc:sldMk cId="3829026925" sldId="307"/>
        </pc:sldMkLst>
      </pc:sldChg>
      <pc:sldChg chg="add">
        <pc:chgData name="Roberto Gallardo" userId="49a044883f185952" providerId="LiveId" clId="{B330690B-5CFF-4174-B3D5-72384CFB2CBD}" dt="2023-02-25T14:36:08.852" v="3"/>
        <pc:sldMkLst>
          <pc:docMk/>
          <pc:sldMk cId="4270536843" sldId="308"/>
        </pc:sldMkLst>
      </pc:sldChg>
      <pc:sldChg chg="add">
        <pc:chgData name="Roberto Gallardo" userId="49a044883f185952" providerId="LiveId" clId="{B330690B-5CFF-4174-B3D5-72384CFB2CBD}" dt="2023-02-25T14:36:08.852" v="3"/>
        <pc:sldMkLst>
          <pc:docMk/>
          <pc:sldMk cId="904613225" sldId="309"/>
        </pc:sldMkLst>
      </pc:sldChg>
      <pc:sldChg chg="add">
        <pc:chgData name="Roberto Gallardo" userId="49a044883f185952" providerId="LiveId" clId="{B330690B-5CFF-4174-B3D5-72384CFB2CBD}" dt="2023-02-25T14:36:08.852" v="3"/>
        <pc:sldMkLst>
          <pc:docMk/>
          <pc:sldMk cId="219415277"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Currituck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51A2E69-0D90-F7A4-87F9-E85ED4807126}"/>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9046132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FBA1D8E5-9E29-BE48-D468-E417D18759AF}"/>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2194152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69AB6232-D2B8-EEE3-A949-A0B3488E3F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8E4F69C-B0F9-6149-EF95-9D45417658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6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7153F83-B7DC-D4D1-14E8-A817E766CBF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5727" y="1028700"/>
            <a:ext cx="7604345" cy="5377467"/>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63002D2-F241-2C85-31D2-F67E0B57688D}"/>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Schematic, map&#10;&#10;Description automatically generated">
            <a:extLst>
              <a:ext uri="{FF2B5EF4-FFF2-40B4-BE49-F238E27FC236}">
                <a16:creationId xmlns:a16="http://schemas.microsoft.com/office/drawing/2014/main" id="{572CB84C-54CC-FC9A-10F4-86085AB859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646"/>
            <a:ext cx="6362700" cy="4499429"/>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A0883B3-A9A4-06DE-1A95-C530AAD06B0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6A00CE39-397B-010D-FB97-84DE06C33C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5" y="1426935"/>
            <a:ext cx="6362700" cy="4499429"/>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D98795A3-B343-771A-CD54-FD81DB582163}"/>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4BEA1F2D-24C8-FEDB-A9E2-01C91B27EC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741"/>
            <a:ext cx="6362700" cy="4499428"/>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C471535-A78F-B997-D8C3-BA1ACB3B0522}"/>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34C5D693-CF23-D44C-9068-07F9022FFF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98676" y="1432718"/>
            <a:ext cx="6344099" cy="4486275"/>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4F0B3C0A-8B80-FC51-0557-E6899BF125F6}"/>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with medium confidence">
            <a:extLst>
              <a:ext uri="{FF2B5EF4-FFF2-40B4-BE49-F238E27FC236}">
                <a16:creationId xmlns:a16="http://schemas.microsoft.com/office/drawing/2014/main" id="{7DA51CFF-0F5D-AE78-E9C9-E069C657AC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0262" y="1424588"/>
            <a:ext cx="6369338" cy="4504123"/>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7F11A4C1-81C2-8425-C1E1-A4416AC84A6A}"/>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B549E68-992B-33C0-54A0-0181F0BEC5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16917"/>
            <a:ext cx="6357568" cy="4495800"/>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0686C2F1-0D23-2058-EBBE-928F26F95523}"/>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A478A30-28BD-BBC6-2644-31A51FEC07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646"/>
            <a:ext cx="6362700"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7EE4E64A-254F-1F9D-945C-FFE2726D6FF7}"/>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73145E4-2C8E-EB3B-C4AC-CFD030AA2D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9982" y="1422173"/>
            <a:ext cx="6362699" cy="4499428"/>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8041081D-172F-89E2-4454-F2EA6801534A}"/>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0CA2115-494C-BDC8-22DD-FB8C10C571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7376" y="1432226"/>
            <a:ext cx="6372224" cy="4506164"/>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5E229645-ACF3-0215-4BD3-E61DF66D21F4}"/>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910D3C3-EBD2-F16F-891B-13B6226D58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6425" y="1430858"/>
            <a:ext cx="6362700" cy="4499429"/>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76E3DB65-57CC-8A73-9002-B4DA0CB3D690}"/>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19745DA-CCF9-DB3F-B64C-AB278D172F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0709"/>
            <a:ext cx="6361381" cy="4498497"/>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7C865EB-D1B8-9B32-B319-2DE851DB2EC5}"/>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with medium confidence">
            <a:extLst>
              <a:ext uri="{FF2B5EF4-FFF2-40B4-BE49-F238E27FC236}">
                <a16:creationId xmlns:a16="http://schemas.microsoft.com/office/drawing/2014/main" id="{B05D59CF-B766-5EC5-68FA-14F3C6671F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873"/>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70175D12-CD20-EE52-F477-6B0F407ABBE6}"/>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09AFDF7-FA06-BEBA-F4A0-A948FAF136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5878"/>
            <a:ext cx="6362700" cy="449942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B4F1577D-B559-31F2-AAB5-436EE19A5B25}"/>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18916661-4182-7AC9-6957-00B8C751AE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935"/>
            <a:ext cx="6362700" cy="4499429"/>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0CB17B3D-646B-AA16-C058-9768ACBFA353}"/>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4DB1E7DC-E62E-36BC-9C8C-FA1988F898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0618"/>
            <a:ext cx="6362700" cy="449942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815EF4B1-FCAB-B48D-3E5B-8DF8991E2B33}"/>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0CF38C05-7481-4325-D7FE-97DD31A38D33}"/>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42DD5358-0F51-C92A-9A5E-82ECA9D252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2233"/>
            <a:ext cx="6362701"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0926A240-5AA8-E40E-B7A9-B2633ABFDA5A}"/>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36ECF20-CA53-0FDA-AB3A-7EE8F000F23C}"/>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BE5E6A8-C8EF-ADA4-A604-E1871F361830}"/>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36024" y="2542482"/>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30016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35175" y="2068001"/>
            <a:ext cx="1198148" cy="2471688"/>
            <a:chOff x="10476220" y="3248112"/>
            <a:chExt cx="1198148" cy="2471688"/>
          </a:xfrm>
        </p:grpSpPr>
        <p:sp>
          <p:nvSpPr>
            <p:cNvPr id="11" name="TextBox 10">
              <a:extLst>
                <a:ext uri="{FF2B5EF4-FFF2-40B4-BE49-F238E27FC236}">
                  <a16:creationId xmlns:a16="http://schemas.microsoft.com/office/drawing/2014/main" id="{09F5AE19-B4E3-7788-F25F-CDA80D596DAF}"/>
                </a:ext>
              </a:extLst>
            </p:cNvPr>
            <p:cNvSpPr txBox="1"/>
            <p:nvPr/>
          </p:nvSpPr>
          <p:spPr>
            <a:xfrm>
              <a:off x="10476220" y="41413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7</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57198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2481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75294" y="3248112"/>
              <a:ext cx="0" cy="8932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flipH="1">
              <a:off x="11065769" y="5019706"/>
              <a:ext cx="7506" cy="69056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19CACCD7-5AF0-E98E-C99E-84522DF7E30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5FAFA1E5-B107-CC37-895B-C0F078062939}"/>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3550661-F9F7-A8FF-F27F-77912FE521A5}"/>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C9307941-69A6-4D2F-5995-B3B4AF9D4A24}"/>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5F4DB95C-0CB2-AE1F-3DC0-101263A2C245}"/>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AAC2E3F3-F510-C27D-B984-82501BBF4D18}"/>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DE88D629-3B08-50BB-4E5B-D244BEFF291D}"/>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8290269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C8F0121B-CAB9-9DA3-CD14-2F5CFE1E820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42705368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91</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69</cp:revision>
  <dcterms:created xsi:type="dcterms:W3CDTF">2022-07-04T13:32:28Z</dcterms:created>
  <dcterms:modified xsi:type="dcterms:W3CDTF">2023-02-27T23:48:40Z</dcterms:modified>
</cp:coreProperties>
</file>